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1944" r:id="rId2"/>
    <p:sldId id="1943" r:id="rId3"/>
    <p:sldId id="1945" r:id="rId4"/>
  </p:sldIdLst>
  <p:sldSz cx="9144000" cy="6858000" type="screen4x3"/>
  <p:notesSz cx="6858000" cy="9661525"/>
  <p:custShowLst>
    <p:custShow name="Mustermann1" id="0">
      <p:sldLst/>
    </p:custShow>
  </p:custShowLst>
  <p:custDataLst>
    <p:tags r:id="rId7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77E"/>
    <a:srgbClr val="FF3300"/>
    <a:srgbClr val="800000"/>
    <a:srgbClr val="990000"/>
    <a:srgbClr val="CC0000"/>
    <a:srgbClr val="FFCC00"/>
    <a:srgbClr val="005EAD"/>
    <a:srgbClr val="002F52"/>
    <a:srgbClr val="0037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445" autoAdjust="0"/>
    <p:restoredTop sz="94626" autoAdjust="0"/>
  </p:normalViewPr>
  <p:slideViewPr>
    <p:cSldViewPr snapToGrid="0" showGuides="1">
      <p:cViewPr varScale="1">
        <p:scale>
          <a:sx n="145" d="100"/>
          <a:sy n="145" d="100"/>
        </p:scale>
        <p:origin x="2178" y="120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10" d="100"/>
          <a:sy n="110" d="100"/>
        </p:scale>
        <p:origin x="5268" y="126"/>
      </p:cViewPr>
      <p:guideLst>
        <p:guide orient="horz" pos="304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81213" y="536575"/>
            <a:ext cx="11022013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8979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51353095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3999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75893249"/>
      </p:ext>
    </p:extLst>
  </p:cSld>
  <p:clrMapOvr>
    <a:masterClrMapping/>
  </p:clrMapOvr>
  <p:transition>
    <p:dissolv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57087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80715932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CB60196-2670-1E4E-9B83-83B9D30D80D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217A189-E2FB-3F4B-ABCD-C8FBBA962B5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857087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4415450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45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9BF1D72-C7DA-844D-9D02-3A0622DC17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17087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5157658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4035B5A-D131-9E43-8819-54D8C7C5F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DA824A7B-3A0B-A54A-AD70-3A727E9C653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45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B1B37D4C-618B-A04F-93D5-96AD3167BF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17087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08082518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12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792184-303E-1043-881E-83B8E522119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42868" y="3411105"/>
            <a:ext cx="1093612" cy="1013507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9760585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BFC69AB-ADCF-E041-BB63-A5BB6D80C4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ADCD90-1538-794F-94D7-D1B6833F7FD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9807" y="3503148"/>
            <a:ext cx="1154458" cy="80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341426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0" name="Picture 64" descr="Fotolia_2596290_XL duplex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7" b="11909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</p:spTree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C2B0189-9A52-6C4C-A12C-68DF1D8497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25994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6DFE7FB-BD09-AA46-851D-B1DBEFD8BECC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3" y="6288832"/>
            <a:ext cx="2813730" cy="2535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ts val="0"/>
              </a:spcBef>
            </a:pPr>
            <a:r>
              <a:rPr lang="de-DE" sz="800" dirty="0">
                <a:solidFill>
                  <a:schemeClr val="tx1"/>
                </a:solidFill>
              </a:rPr>
              <a:t>Supervisor: Prof. Dr. Benjamin Buchwitz		 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dirty="0">
                <a:solidFill>
                  <a:schemeClr val="tx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tx1"/>
                </a:solidFill>
              </a:rPr>
              <a:pPr algn="l">
                <a:spcBef>
                  <a:spcPts val="0"/>
                </a:spcBef>
              </a:pPr>
              <a:t>‹Nr.›</a:t>
            </a:fld>
            <a:r>
              <a:rPr lang="de-DE" sz="800" dirty="0">
                <a:solidFill>
                  <a:schemeClr val="tx1"/>
                </a:solidFill>
              </a:rPr>
              <a:t> (SS 2023) </a:t>
            </a:r>
          </a:p>
        </p:txBody>
      </p:sp>
      <p:pic>
        <p:nvPicPr>
          <p:cNvPr id="1176" name="Picture 152" descr="Kästchen-weiss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07" b="68468"/>
          <a:stretch>
            <a:fillRect/>
          </a:stretch>
        </p:blipFill>
        <p:spPr bwMode="auto">
          <a:xfrm>
            <a:off x="7024688" y="5949950"/>
            <a:ext cx="2119312" cy="9080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7" name="Picture 153" descr="Logo-RGB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4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Box 149">
            <a:extLst>
              <a:ext uri="{FF2B5EF4-FFF2-40B4-BE49-F238E27FC236}">
                <a16:creationId xmlns:a16="http://schemas.microsoft.com/office/drawing/2014/main" id="{49F098CC-1106-02C4-C030-7EAEFFB536F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925170" y="6260977"/>
            <a:ext cx="2099518" cy="1548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ts val="0"/>
              </a:spcBef>
            </a:pPr>
            <a:r>
              <a:rPr lang="de-DE" sz="800" dirty="0" err="1">
                <a:solidFill>
                  <a:schemeClr val="tx1"/>
                </a:solidFill>
              </a:rPr>
              <a:t>Authors</a:t>
            </a:r>
            <a:r>
              <a:rPr lang="de-DE" sz="800" dirty="0">
                <a:solidFill>
                  <a:schemeClr val="tx1"/>
                </a:solidFill>
              </a:rPr>
              <a:t>: Vladislav </a:t>
            </a:r>
            <a:r>
              <a:rPr lang="de-DE" sz="800" dirty="0" err="1">
                <a:solidFill>
                  <a:schemeClr val="tx1"/>
                </a:solidFill>
              </a:rPr>
              <a:t>Stasenko</a:t>
            </a:r>
            <a:r>
              <a:rPr lang="de-DE" sz="800" dirty="0">
                <a:solidFill>
                  <a:schemeClr val="tx1"/>
                </a:solidFill>
              </a:rPr>
              <a:t> &amp; Vitali </a:t>
            </a:r>
            <a:r>
              <a:rPr lang="de-DE" sz="800" dirty="0" err="1">
                <a:solidFill>
                  <a:schemeClr val="tx1"/>
                </a:solidFill>
              </a:rPr>
              <a:t>Krilov</a:t>
            </a:r>
            <a:endParaRPr lang="de-DE" sz="80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4" r:id="rId3"/>
    <p:sldLayoutId id="2147483655" r:id="rId4"/>
    <p:sldLayoutId id="2147483656" r:id="rId5"/>
    <p:sldLayoutId id="2147483657" r:id="rId6"/>
    <p:sldLayoutId id="2147483652" r:id="rId7"/>
    <p:sldLayoutId id="2147483653" r:id="rId8"/>
    <p:sldLayoutId id="2147483649" r:id="rId9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EF90A49-F155-974A-9F01-65519A3C2C8A}"/>
              </a:ext>
            </a:extLst>
          </p:cNvPr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/>
              <a:t>Data Analysis in Big Dat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5B4F83F-38C5-C3E3-7527-7F202F351C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</p:spTree>
    <p:extLst>
      <p:ext uri="{BB962C8B-B14F-4D97-AF65-F5344CB8AC3E}">
        <p14:creationId xmlns:p14="http://schemas.microsoft.com/office/powerpoint/2010/main" val="1847368776"/>
      </p:ext>
    </p:extLst>
  </p:cSld>
  <p:clrMapOvr>
    <a:masterClrMapping/>
  </p:clrMapOvr>
  <p:transition>
    <p:dissolv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B2331E4-4F67-454B-888C-9BB79CF6C6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00525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B2331E4-4F67-454B-888C-9BB79CF6C6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46BBD7AE-88FF-224A-8696-365ADDCC28D0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kumimoji="0" lang="en-GB" sz="2400" b="1" u="none" strike="noStrike" cap="none" normalizeH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26A0BFC-89E4-9E41-9E2A-73DC9B95255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GB" dirty="0"/>
              <a:t>In this Presentation, we will …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8D85132-04D1-7F46-A4AF-02DDEAEA9D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ream Processi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D289530-F87B-864C-B74B-940411A7DA7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Introduction: Example</a:t>
            </a:r>
          </a:p>
        </p:txBody>
      </p:sp>
    </p:spTree>
    <p:extLst>
      <p:ext uri="{BB962C8B-B14F-4D97-AF65-F5344CB8AC3E}">
        <p14:creationId xmlns:p14="http://schemas.microsoft.com/office/powerpoint/2010/main" val="928857652"/>
      </p:ext>
    </p:extLst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2C4504D7-3E22-724F-6319-500AE7BF4B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85CCFC8-F558-33C0-C2A5-442E6114DA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Seite 1/1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38137EB2-23CB-1E8C-ED42-024241D67A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200" dirty="0"/>
              <a:t>1. </a:t>
            </a:r>
            <a:r>
              <a:rPr lang="en-US" sz="1200" dirty="0" err="1"/>
              <a:t>Hueske</a:t>
            </a:r>
            <a:r>
              <a:rPr lang="en-US" sz="1200" dirty="0"/>
              <a:t>, F., &amp; </a:t>
            </a:r>
            <a:r>
              <a:rPr lang="en-US" sz="1200" dirty="0" err="1"/>
              <a:t>Kalavri</a:t>
            </a:r>
            <a:r>
              <a:rPr lang="en-US" sz="1200" dirty="0"/>
              <a:t>, V. (2019). Stream Processing with Apache </a:t>
            </a:r>
            <a:r>
              <a:rPr lang="en-US" sz="1200" dirty="0" err="1"/>
              <a:t>Flink</a:t>
            </a:r>
            <a:r>
              <a:rPr lang="en-US" sz="1200" dirty="0"/>
              <a:t> Fundamentals, Implementation, and Operation of Streaming Applications. O’Reilly Media.</a:t>
            </a:r>
          </a:p>
          <a:p>
            <a:endParaRPr lang="de-DE" sz="1200" dirty="0"/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157898214"/>
      </p:ext>
    </p:extLst>
  </p:cSld>
  <p:clrMapOvr>
    <a:masterClrMapping/>
  </p:clrMapOvr>
  <p:transition>
    <p:dissolv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ggB5j5u4R9y848Ijg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RvQGdmPOx15SKgIX1Ujg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54</Words>
  <Application>Microsoft Office PowerPoint</Application>
  <PresentationFormat>Bildschirmpräsentation (4:3)</PresentationFormat>
  <Paragraphs>8</Paragraphs>
  <Slides>3</Slides>
  <Notes>1</Notes>
  <HiddenSlides>0</HiddenSlides>
  <MMClips>0</MMClips>
  <ScaleCrop>false</ScaleCrop>
  <HeadingPairs>
    <vt:vector size="10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  <vt:variant>
        <vt:lpstr>Zielgruppenorientierte Präsentationen</vt:lpstr>
      </vt:variant>
      <vt:variant>
        <vt:i4>1</vt:i4>
      </vt:variant>
    </vt:vector>
  </HeadingPairs>
  <TitlesOfParts>
    <vt:vector size="10" baseType="lpstr">
      <vt:lpstr>Arial</vt:lpstr>
      <vt:lpstr>Syntax</vt:lpstr>
      <vt:lpstr>Times</vt:lpstr>
      <vt:lpstr>Wingdings</vt:lpstr>
      <vt:lpstr>Leere Präsentation</vt:lpstr>
      <vt:lpstr>think-cell Folie</vt:lpstr>
      <vt:lpstr>Data Analysis in Big Data</vt:lpstr>
      <vt:lpstr>Stream Processing</vt:lpstr>
      <vt:lpstr>Literatur</vt:lpstr>
      <vt:lpstr>Mustermann1</vt:lpstr>
    </vt:vector>
  </TitlesOfParts>
  <Company>Susanne Ham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Vitali K</cp:lastModifiedBy>
  <cp:revision>485</cp:revision>
  <cp:lastPrinted>2010-04-29T14:30:22Z</cp:lastPrinted>
  <dcterms:created xsi:type="dcterms:W3CDTF">2010-04-29T12:39:23Z</dcterms:created>
  <dcterms:modified xsi:type="dcterms:W3CDTF">2023-05-11T14:25:02Z</dcterms:modified>
</cp:coreProperties>
</file>